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1"/>
  </p:notesMasterIdLst>
  <p:handoutMasterIdLst>
    <p:handoutMasterId r:id="rId22"/>
  </p:handoutMasterIdLst>
  <p:sldIdLst>
    <p:sldId id="356" r:id="rId7"/>
    <p:sldId id="378" r:id="rId8"/>
    <p:sldId id="379" r:id="rId9"/>
    <p:sldId id="380" r:id="rId10"/>
    <p:sldId id="381" r:id="rId11"/>
    <p:sldId id="383" r:id="rId12"/>
    <p:sldId id="382" r:id="rId13"/>
    <p:sldId id="376" r:id="rId14"/>
    <p:sldId id="375" r:id="rId15"/>
    <p:sldId id="374" r:id="rId16"/>
    <p:sldId id="370" r:id="rId17"/>
    <p:sldId id="372" r:id="rId18"/>
    <p:sldId id="373" r:id="rId19"/>
    <p:sldId id="279" r:id="rId20"/>
  </p:sldIdLst>
  <p:sldSz cx="9144000" cy="5143500" type="screen16x9"/>
  <p:notesSz cx="9925050" cy="6665913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3407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043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design </a:t>
            </a:r>
            <a:r>
              <a:rPr lang="de-DE" sz="3500" dirty="0" err="1"/>
              <a:t>choic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</p:txBody>
      </p:sp>
      <p:pic>
        <p:nvPicPr>
          <p:cNvPr id="7" name="Grafik 6" descr="Ein Bild, das Screenshot, sitzend, Monitor, schwarz enthält.&#10;&#10;Automatisch generierte Beschreibung">
            <a:extLst>
              <a:ext uri="{FF2B5EF4-FFF2-40B4-BE49-F238E27FC236}">
                <a16:creationId xmlns:a16="http://schemas.microsoft.com/office/drawing/2014/main" id="{B5AB30A1-F8B1-4843-AE22-A1D883103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1836048"/>
            <a:ext cx="8321040" cy="147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91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</a:t>
            </a:r>
            <a:r>
              <a:rPr lang="de-DE" sz="3500" dirty="0" err="1"/>
              <a:t>used</a:t>
            </a:r>
            <a:r>
              <a:rPr lang="de-DE" sz="3500" dirty="0"/>
              <a:t> </a:t>
            </a:r>
            <a:r>
              <a:rPr lang="de-DE" sz="3500" dirty="0" err="1"/>
              <a:t>technologi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738177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73</Words>
  <Application>Microsoft Macintosh PowerPoint</Application>
  <PresentationFormat>Bildschirmpräsentation (16:9)</PresentationFormat>
  <Paragraphs>80</Paragraphs>
  <Slides>14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4</vt:i4>
      </vt:variant>
    </vt:vector>
  </HeadingPairs>
  <TitlesOfParts>
    <vt:vector size="25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Dokumentation ‚design choices‘</vt:lpstr>
      <vt:lpstr>Cards</vt:lpstr>
      <vt:lpstr>Table</vt:lpstr>
      <vt:lpstr>Chips</vt:lpstr>
      <vt:lpstr>XSLT Processor</vt:lpstr>
      <vt:lpstr>Dokumentation ‚used technologies‘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9</cp:revision>
  <cp:lastPrinted>2015-07-30T14:04:45Z</cp:lastPrinted>
  <dcterms:created xsi:type="dcterms:W3CDTF">2019-11-21T08:12:12Z</dcterms:created>
  <dcterms:modified xsi:type="dcterms:W3CDTF">2019-11-26T15:34:58Z</dcterms:modified>
</cp:coreProperties>
</file>